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</p:sldMasterIdLst>
  <p:notesMasterIdLst>
    <p:notesMasterId r:id="rId8"/>
  </p:notesMasterIdLst>
  <p:sldIdLst>
    <p:sldId id="409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84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viewProps" Target="viewProps.xml"/><Relationship Id="rId5" Type="http://schemas.openxmlformats.org/officeDocument/2006/relationships/customXml" Target="../customXml/item5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ie Phipps" userId="e4a102f2-4ce0-4074-a3a5-5dfcbc0f6262" providerId="ADAL" clId="{15347CEF-EFDC-4C49-8E9D-8370FC8C68BF}"/>
    <pc:docChg chg="undo custSel addSld delSld modSld">
      <pc:chgData name="Stephanie Phipps" userId="e4a102f2-4ce0-4074-a3a5-5dfcbc0f6262" providerId="ADAL" clId="{15347CEF-EFDC-4C49-8E9D-8370FC8C68BF}" dt="2022-11-03T15:49:52.179" v="5" actId="47"/>
      <pc:docMkLst>
        <pc:docMk/>
      </pc:docMkLst>
      <pc:sldChg chg="delSp mod">
        <pc:chgData name="Stephanie Phipps" userId="e4a102f2-4ce0-4074-a3a5-5dfcbc0f6262" providerId="ADAL" clId="{15347CEF-EFDC-4C49-8E9D-8370FC8C68BF}" dt="2022-11-03T15:49:00.360" v="0" actId="478"/>
        <pc:sldMkLst>
          <pc:docMk/>
          <pc:sldMk cId="2196844344" sldId="409"/>
        </pc:sldMkLst>
        <pc:spChg chg="del">
          <ac:chgData name="Stephanie Phipps" userId="e4a102f2-4ce0-4074-a3a5-5dfcbc0f6262" providerId="ADAL" clId="{15347CEF-EFDC-4C49-8E9D-8370FC8C68BF}" dt="2022-11-03T15:49:00.360" v="0" actId="478"/>
          <ac:spMkLst>
            <pc:docMk/>
            <pc:sldMk cId="2196844344" sldId="409"/>
            <ac:spMk id="14" creationId="{7D24424B-2E31-4AF2-B0EF-DE387432E4C8}"/>
          </ac:spMkLst>
        </pc:spChg>
      </pc:sldChg>
      <pc:sldChg chg="delSp modSp add del mod">
        <pc:chgData name="Stephanie Phipps" userId="e4a102f2-4ce0-4074-a3a5-5dfcbc0f6262" providerId="ADAL" clId="{15347CEF-EFDC-4C49-8E9D-8370FC8C68BF}" dt="2022-11-03T15:49:52.179" v="5" actId="47"/>
        <pc:sldMkLst>
          <pc:docMk/>
          <pc:sldMk cId="2926901226" sldId="410"/>
        </pc:sldMkLst>
        <pc:spChg chg="del mod">
          <ac:chgData name="Stephanie Phipps" userId="e4a102f2-4ce0-4074-a3a5-5dfcbc0f6262" providerId="ADAL" clId="{15347CEF-EFDC-4C49-8E9D-8370FC8C68BF}" dt="2022-11-03T15:49:15.390" v="2" actId="478"/>
          <ac:spMkLst>
            <pc:docMk/>
            <pc:sldMk cId="2926901226" sldId="410"/>
            <ac:spMk id="14" creationId="{7D24424B-2E31-4AF2-B0EF-DE387432E4C8}"/>
          </ac:spMkLst>
        </pc:spChg>
      </pc:sldChg>
    </pc:docChg>
  </pc:docChgLst>
  <pc:docChgLst>
    <pc:chgData name="Stephanie Phipps" userId="S::sphipps@gavi.org::e4a102f2-4ce0-4074-a3a5-5dfcbc0f6262" providerId="AD" clId="Web-{F7E1ED54-585A-CF30-990D-1C050687CEA8}"/>
    <pc:docChg chg="addSld">
      <pc:chgData name="Stephanie Phipps" userId="S::sphipps@gavi.org::e4a102f2-4ce0-4074-a3a5-5dfcbc0f6262" providerId="AD" clId="Web-{F7E1ED54-585A-CF30-990D-1C050687CEA8}" dt="2022-08-11T12:27:41.007" v="0"/>
      <pc:docMkLst>
        <pc:docMk/>
      </pc:docMkLst>
      <pc:sldChg chg="add replId">
        <pc:chgData name="Stephanie Phipps" userId="S::sphipps@gavi.org::e4a102f2-4ce0-4074-a3a5-5dfcbc0f6262" providerId="AD" clId="Web-{F7E1ED54-585A-CF30-990D-1C050687CEA8}" dt="2022-08-11T12:27:41.007" v="0"/>
        <pc:sldMkLst>
          <pc:docMk/>
          <pc:sldMk cId="2926901226" sldId="410"/>
        </pc:sldMkLst>
      </pc:sldChg>
    </pc:docChg>
  </pc:docChgLst>
  <pc:docChgLst>
    <pc:chgData name="Stephanie Phipps" userId="e4a102f2-4ce0-4074-a3a5-5dfcbc0f6262" providerId="ADAL" clId="{5BCCED02-6AC1-4940-847C-F8A4C299F251}"/>
    <pc:docChg chg="modSld">
      <pc:chgData name="Stephanie Phipps" userId="e4a102f2-4ce0-4074-a3a5-5dfcbc0f6262" providerId="ADAL" clId="{5BCCED02-6AC1-4940-847C-F8A4C299F251}" dt="2022-06-13T15:08:29.046" v="7" actId="20577"/>
      <pc:docMkLst>
        <pc:docMk/>
      </pc:docMkLst>
      <pc:sldChg chg="modSp mod">
        <pc:chgData name="Stephanie Phipps" userId="e4a102f2-4ce0-4074-a3a5-5dfcbc0f6262" providerId="ADAL" clId="{5BCCED02-6AC1-4940-847C-F8A4C299F251}" dt="2022-06-13T15:08:29.046" v="7" actId="20577"/>
        <pc:sldMkLst>
          <pc:docMk/>
          <pc:sldMk cId="2196844344" sldId="409"/>
        </pc:sldMkLst>
        <pc:spChg chg="mod">
          <ac:chgData name="Stephanie Phipps" userId="e4a102f2-4ce0-4074-a3a5-5dfcbc0f6262" providerId="ADAL" clId="{5BCCED02-6AC1-4940-847C-F8A4C299F251}" dt="2022-06-13T15:08:29.046" v="7" actId="20577"/>
          <ac:spMkLst>
            <pc:docMk/>
            <pc:sldMk cId="2196844344" sldId="409"/>
            <ac:spMk id="86" creationId="{00000000-0000-0000-0000-000000000000}"/>
          </ac:spMkLst>
        </pc:spChg>
      </pc:sldChg>
    </pc:docChg>
  </pc:docChgLst>
  <pc:docChgLst>
    <pc:chgData name="Friederike Teutsch" userId="b1c99ed9-49ae-4f77-aaca-917ff73ec7e1" providerId="ADAL" clId="{5438AC34-C9A3-4FF2-9319-220E534A5644}"/>
    <pc:docChg chg="custSel modSld replTag">
      <pc:chgData name="Friederike Teutsch" userId="b1c99ed9-49ae-4f77-aaca-917ff73ec7e1" providerId="ADAL" clId="{5438AC34-C9A3-4FF2-9319-220E534A5644}" dt="2022-10-21T14:29:35.717" v="103" actId="1036"/>
      <pc:docMkLst>
        <pc:docMk/>
      </pc:docMkLst>
      <pc:sldChg chg="addSp delSp modSp mod">
        <pc:chgData name="Friederike Teutsch" userId="b1c99ed9-49ae-4f77-aaca-917ff73ec7e1" providerId="ADAL" clId="{5438AC34-C9A3-4FF2-9319-220E534A5644}" dt="2022-10-21T14:29:35.717" v="103" actId="1036"/>
        <pc:sldMkLst>
          <pc:docMk/>
          <pc:sldMk cId="2196844344" sldId="409"/>
        </pc:sldMkLst>
        <pc:spChg chg="add del mod modVis">
          <ac:chgData name="Friederike Teutsch" userId="b1c99ed9-49ae-4f77-aaca-917ff73ec7e1" providerId="ADAL" clId="{5438AC34-C9A3-4FF2-9319-220E534A5644}" dt="2022-10-21T14:28:34.330" v="46"/>
          <ac:spMkLst>
            <pc:docMk/>
            <pc:sldMk cId="2196844344" sldId="409"/>
            <ac:spMk id="3" creationId="{41C7F79B-1323-E2E3-ECC1-E0D2CC488A74}"/>
          </ac:spMkLst>
        </pc:spChg>
        <pc:spChg chg="mod">
          <ac:chgData name="Friederike Teutsch" userId="b1c99ed9-49ae-4f77-aaca-917ff73ec7e1" providerId="ADAL" clId="{5438AC34-C9A3-4FF2-9319-220E534A5644}" dt="2022-10-21T14:28:26.225" v="3" actId="6549"/>
          <ac:spMkLst>
            <pc:docMk/>
            <pc:sldMk cId="2196844344" sldId="409"/>
            <ac:spMk id="72" creationId="{00000000-0000-0000-0000-000000000000}"/>
          </ac:spMkLst>
        </pc:spChg>
        <pc:spChg chg="mod">
          <ac:chgData name="Friederike Teutsch" userId="b1c99ed9-49ae-4f77-aaca-917ff73ec7e1" providerId="ADAL" clId="{5438AC34-C9A3-4FF2-9319-220E534A5644}" dt="2022-10-21T14:28:34.224" v="5"/>
          <ac:spMkLst>
            <pc:docMk/>
            <pc:sldMk cId="2196844344" sldId="409"/>
            <ac:spMk id="86" creationId="{00000000-0000-0000-0000-000000000000}"/>
          </ac:spMkLst>
        </pc:spChg>
        <pc:spChg chg="mod">
          <ac:chgData name="Friederike Teutsch" userId="b1c99ed9-49ae-4f77-aaca-917ff73ec7e1" providerId="ADAL" clId="{5438AC34-C9A3-4FF2-9319-220E534A5644}" dt="2022-10-21T14:29:35.717" v="103" actId="1036"/>
          <ac:spMkLst>
            <pc:docMk/>
            <pc:sldMk cId="2196844344" sldId="409"/>
            <ac:spMk id="102" creationId="{00000000-0000-0000-0000-000000000000}"/>
          </ac:spMkLst>
        </pc:spChg>
        <pc:spChg chg="mod">
          <ac:chgData name="Friederike Teutsch" userId="b1c99ed9-49ae-4f77-aaca-917ff73ec7e1" providerId="ADAL" clId="{5438AC34-C9A3-4FF2-9319-220E534A5644}" dt="2022-10-21T14:29:35.717" v="103" actId="1036"/>
          <ac:spMkLst>
            <pc:docMk/>
            <pc:sldMk cId="2196844344" sldId="409"/>
            <ac:spMk id="103" creationId="{00000000-0000-0000-0000-000000000000}"/>
          </ac:spMkLst>
        </pc:spChg>
        <pc:graphicFrameChg chg="mod">
          <ac:chgData name="Friederike Teutsch" userId="b1c99ed9-49ae-4f77-aaca-917ff73ec7e1" providerId="ADAL" clId="{5438AC34-C9A3-4FF2-9319-220E534A5644}" dt="2022-10-21T14:28:34.339" v="48"/>
          <ac:graphicFrameMkLst>
            <pc:docMk/>
            <pc:sldMk cId="2196844344" sldId="409"/>
            <ac:graphicFrameMk id="7" creationId="{00000000-0000-0000-0000-000000000000}"/>
          </ac:graphicFrameMkLst>
        </pc:graphicFrameChg>
      </pc:sldChg>
      <pc:sldChg chg="addSp delSp modSp mod">
        <pc:chgData name="Friederike Teutsch" userId="b1c99ed9-49ae-4f77-aaca-917ff73ec7e1" providerId="ADAL" clId="{5438AC34-C9A3-4FF2-9319-220E534A5644}" dt="2022-10-21T14:29:30.633" v="100" actId="1036"/>
        <pc:sldMkLst>
          <pc:docMk/>
          <pc:sldMk cId="2926901226" sldId="410"/>
        </pc:sldMkLst>
        <pc:spChg chg="add del mod modVis">
          <ac:chgData name="Friederike Teutsch" userId="b1c99ed9-49ae-4f77-aaca-917ff73ec7e1" providerId="ADAL" clId="{5438AC34-C9A3-4FF2-9319-220E534A5644}" dt="2022-10-21T14:28:43.255" v="91"/>
          <ac:spMkLst>
            <pc:docMk/>
            <pc:sldMk cId="2926901226" sldId="410"/>
            <ac:spMk id="3" creationId="{EEA0E5F7-F06F-4EEF-55FA-8FBB591FF77C}"/>
          </ac:spMkLst>
        </pc:spChg>
        <pc:spChg chg="mod">
          <ac:chgData name="Friederike Teutsch" userId="b1c99ed9-49ae-4f77-aaca-917ff73ec7e1" providerId="ADAL" clId="{5438AC34-C9A3-4FF2-9319-220E534A5644}" dt="2022-10-21T14:28:48.482" v="96" actId="6549"/>
          <ac:spMkLst>
            <pc:docMk/>
            <pc:sldMk cId="2926901226" sldId="410"/>
            <ac:spMk id="72" creationId="{00000000-0000-0000-0000-000000000000}"/>
          </ac:spMkLst>
        </pc:spChg>
        <pc:spChg chg="mod">
          <ac:chgData name="Friederike Teutsch" userId="b1c99ed9-49ae-4f77-aaca-917ff73ec7e1" providerId="ADAL" clId="{5438AC34-C9A3-4FF2-9319-220E534A5644}" dt="2022-10-21T14:28:43.179" v="50"/>
          <ac:spMkLst>
            <pc:docMk/>
            <pc:sldMk cId="2926901226" sldId="410"/>
            <ac:spMk id="86" creationId="{00000000-0000-0000-0000-000000000000}"/>
          </ac:spMkLst>
        </pc:spChg>
        <pc:spChg chg="mod">
          <ac:chgData name="Friederike Teutsch" userId="b1c99ed9-49ae-4f77-aaca-917ff73ec7e1" providerId="ADAL" clId="{5438AC34-C9A3-4FF2-9319-220E534A5644}" dt="2022-10-21T14:29:30.633" v="100" actId="1036"/>
          <ac:spMkLst>
            <pc:docMk/>
            <pc:sldMk cId="2926901226" sldId="410"/>
            <ac:spMk id="102" creationId="{00000000-0000-0000-0000-000000000000}"/>
          </ac:spMkLst>
        </pc:spChg>
        <pc:spChg chg="mod">
          <ac:chgData name="Friederike Teutsch" userId="b1c99ed9-49ae-4f77-aaca-917ff73ec7e1" providerId="ADAL" clId="{5438AC34-C9A3-4FF2-9319-220E534A5644}" dt="2022-10-21T14:29:30.633" v="100" actId="1036"/>
          <ac:spMkLst>
            <pc:docMk/>
            <pc:sldMk cId="2926901226" sldId="410"/>
            <ac:spMk id="103" creationId="{00000000-0000-0000-0000-000000000000}"/>
          </ac:spMkLst>
        </pc:spChg>
        <pc:graphicFrameChg chg="mod">
          <ac:chgData name="Friederike Teutsch" userId="b1c99ed9-49ae-4f77-aaca-917ff73ec7e1" providerId="ADAL" clId="{5438AC34-C9A3-4FF2-9319-220E534A5644}" dt="2022-10-21T14:28:43.258" v="93"/>
          <ac:graphicFrameMkLst>
            <pc:docMk/>
            <pc:sldMk cId="2926901226" sldId="410"/>
            <ac:graphicFrameMk id="7" creationId="{00000000-0000-0000-0000-000000000000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8F33C-B9AE-49AE-9112-66A135CECFE3}" type="datetimeFigureOut">
              <a:rPr lang="en-US" smtClean="0"/>
              <a:t>11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4DDADE-7B0F-47D0-8A47-5F7FB25EA9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175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223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 20" descr="FD_1_L254.png"/>
          <p:cNvPicPr>
            <a:picLocks/>
          </p:cNvPicPr>
          <p:nvPr userDrawn="1"/>
        </p:nvPicPr>
        <p:blipFill>
          <a:blip r:embed="rId5" cstate="print"/>
          <a:stretch>
            <a:fillRect/>
          </a:stretch>
        </p:blipFill>
        <p:spPr bwMode="ltGray">
          <a:xfrm>
            <a:off x="1" y="-7257"/>
            <a:ext cx="12192000" cy="5157788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24417" y="2958308"/>
            <a:ext cx="5123240" cy="323165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2100" b="1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24417" y="3529965"/>
            <a:ext cx="5123240" cy="230832"/>
          </a:xfrm>
        </p:spPr>
        <p:txBody>
          <a:bodyPr wrap="square">
            <a:spAutoFit/>
          </a:bodyPr>
          <a:lstStyle>
            <a:lvl1pPr>
              <a:defRPr sz="1500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27" name="McK Title Elements" hidden="1"/>
          <p:cNvGrpSpPr/>
          <p:nvPr userDrawn="1"/>
        </p:nvGrpSpPr>
        <p:grpSpPr bwMode="auto">
          <a:xfrm>
            <a:off x="624418" y="4309457"/>
            <a:ext cx="5385256" cy="376618"/>
            <a:chOff x="1037261" y="5404470"/>
            <a:chExt cx="4038942" cy="37661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037261" y="5404470"/>
              <a:ext cx="4038942" cy="1615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037261" y="5619505"/>
              <a:ext cx="4038942" cy="1615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pic>
        <p:nvPicPr>
          <p:cNvPr id="21" name="Image 19" descr="Bas_couv.png"/>
          <p:cNvPicPr>
            <a:picLocks noChangeAspect="1"/>
          </p:cNvPicPr>
          <p:nvPr userDrawn="1"/>
        </p:nvPicPr>
        <p:blipFill>
          <a:blip r:embed="rId6" cstate="print"/>
          <a:srcRect r="60243" b="722"/>
          <a:stretch>
            <a:fillRect/>
          </a:stretch>
        </p:blipFill>
        <p:spPr bwMode="auto">
          <a:xfrm>
            <a:off x="4" y="5172520"/>
            <a:ext cx="4847167" cy="1685480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 bwMode="auto">
          <a:xfrm>
            <a:off x="624417" y="3391895"/>
            <a:ext cx="3264000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11257880" y="6354203"/>
            <a:ext cx="573875" cy="1154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algn="r">
              <a:defRPr/>
            </a:pPr>
            <a:r>
              <a:rPr lang="en-US" sz="750" kern="0">
                <a:solidFill>
                  <a:srgbClr val="95D600"/>
                </a:solidFill>
              </a:rPr>
              <a:t>www.gavi.org</a:t>
            </a:r>
          </a:p>
        </p:txBody>
      </p:sp>
      <p:pic>
        <p:nvPicPr>
          <p:cNvPr id="17541" name="Picture 133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16" t="42028" r="1467" b="15943"/>
          <a:stretch/>
        </p:blipFill>
        <p:spPr bwMode="auto">
          <a:xfrm>
            <a:off x="10324686" y="6190074"/>
            <a:ext cx="1519768" cy="164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Placeholder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3" r="18213"/>
          <a:stretch>
            <a:fillRect/>
          </a:stretch>
        </p:blipFill>
        <p:spPr bwMode="ltGray">
          <a:xfrm>
            <a:off x="5590118" y="-11869"/>
            <a:ext cx="6601883" cy="5162400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rgbClr val="878787"/>
          </a:solidFill>
          <a:ln w="3175">
            <a:noFill/>
          </a:ln>
        </p:spPr>
      </p:pic>
    </p:spTree>
    <p:extLst>
      <p:ext uri="{BB962C8B-B14F-4D97-AF65-F5344CB8AC3E}">
        <p14:creationId xmlns:p14="http://schemas.microsoft.com/office/powerpoint/2010/main" val="29271105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4763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3758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5392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0036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image" Target="../media/image1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8017544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1500" b="0" i="0" u="none" cap="none" baseline="0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5203" y="2649113"/>
            <a:ext cx="585302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252" y="524828"/>
            <a:ext cx="11471506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252" y="-1025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252" y="847209"/>
            <a:ext cx="11471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Slide Elements" hidden="1"/>
          <p:cNvGrpSpPr/>
          <p:nvPr/>
        </p:nvGrpSpPr>
        <p:grpSpPr bwMode="auto">
          <a:xfrm>
            <a:off x="360250" y="6362520"/>
            <a:ext cx="9520352" cy="324227"/>
            <a:chOff x="121488" y="6396911"/>
            <a:chExt cx="8794113" cy="32422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21488" y="6396911"/>
              <a:ext cx="8794113" cy="1154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21488" y="6605722"/>
              <a:ext cx="8794112" cy="1154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352432" indent="-352432" defTabSz="685159" fontAlgn="base">
                <a:spcBef>
                  <a:spcPct val="0"/>
                </a:spcBef>
                <a:spcAft>
                  <a:spcPct val="0"/>
                </a:spcAft>
                <a:tabLst>
                  <a:tab pos="356004" algn="l"/>
                </a:tabLst>
              </a:pPr>
              <a:r>
                <a:rPr lang="en-US" sz="75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225203" y="2220268"/>
            <a:ext cx="5853024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10813652" y="489178"/>
            <a:ext cx="723901" cy="984251"/>
            <a:chOff x="4936" y="176"/>
            <a:chExt cx="342" cy="620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10403006" y="489178"/>
            <a:ext cx="1134535" cy="684213"/>
            <a:chOff x="4750" y="176"/>
            <a:chExt cx="536" cy="431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18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11021778" y="489176"/>
            <a:ext cx="809964" cy="166199"/>
            <a:chOff x="8133302" y="285750"/>
            <a:chExt cx="607473" cy="166199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8133302" y="285750"/>
              <a:ext cx="607473" cy="1661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8133302" y="285750"/>
              <a:ext cx="0" cy="16619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8133302" y="451949"/>
              <a:ext cx="60747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10724518" y="489174"/>
            <a:ext cx="812288" cy="1306516"/>
            <a:chOff x="6655594" y="273840"/>
            <a:chExt cx="6092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28854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26" fontAlgn="base">
                <a:spcBef>
                  <a:spcPct val="0"/>
                </a:spcBef>
                <a:spcAft>
                  <a:spcPct val="0"/>
                </a:spcAft>
                <a:buClr>
                  <a:srgbClr val="95D6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6" name="Slide Number"/>
          <p:cNvSpPr txBox="1">
            <a:spLocks/>
          </p:cNvSpPr>
          <p:nvPr/>
        </p:nvSpPr>
        <p:spPr bwMode="auto">
          <a:xfrm>
            <a:off x="11823191" y="6565552"/>
            <a:ext cx="105799" cy="10387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75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75">
              <a:solidFill>
                <a:srgbClr val="000000"/>
              </a:solidFill>
            </a:endParaRPr>
          </a:p>
        </p:txBody>
      </p:sp>
      <p:grpSp>
        <p:nvGrpSpPr>
          <p:cNvPr id="67" name="McK Moon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10724513" y="2274832"/>
            <a:ext cx="338667" cy="254000"/>
            <a:chOff x="1600" y="1600"/>
            <a:chExt cx="160" cy="160"/>
          </a:xfrm>
        </p:grpSpPr>
        <p:sp>
          <p:nvSpPr>
            <p:cNvPr id="68" name="Oval 90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69" name="Arc 9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71" name="Rectangle 70"/>
          <p:cNvSpPr/>
          <p:nvPr/>
        </p:nvSpPr>
        <p:spPr bwMode="auto">
          <a:xfrm>
            <a:off x="360249" y="788830"/>
            <a:ext cx="2111557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</a:endParaRPr>
          </a:p>
        </p:txBody>
      </p:sp>
      <p:pic>
        <p:nvPicPr>
          <p:cNvPr id="70" name="Image 12" descr="Logo_suite_50x30.png"/>
          <p:cNvPicPr>
            <a:picLocks noChangeAspect="1"/>
          </p:cNvPicPr>
          <p:nvPr/>
        </p:nvPicPr>
        <p:blipFill rotWithShape="1">
          <a:blip r:embed="rId29" cstate="print"/>
          <a:srcRect l="10380" t="40368" r="25400" b="16785"/>
          <a:stretch/>
        </p:blipFill>
        <p:spPr bwMode="auto">
          <a:xfrm>
            <a:off x="10041133" y="6305736"/>
            <a:ext cx="1541270" cy="461963"/>
          </a:xfrm>
          <a:prstGeom prst="rect">
            <a:avLst/>
          </a:prstGeom>
        </p:spPr>
      </p:pic>
      <p:sp>
        <p:nvSpPr>
          <p:cNvPr id="72" name="Rectangle 71"/>
          <p:cNvSpPr/>
          <p:nvPr/>
        </p:nvSpPr>
        <p:spPr bwMode="auto">
          <a:xfrm>
            <a:off x="10080444" y="6199978"/>
            <a:ext cx="2111557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238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dt="0"/>
  <p:txStyles>
    <p:titleStyle>
      <a:lvl1pPr algn="l" defTabSz="685159" rtl="0" eaLnBrk="1" fontAlgn="base" hangingPunct="1">
        <a:spcBef>
          <a:spcPct val="0"/>
        </a:spcBef>
        <a:spcAft>
          <a:spcPct val="0"/>
        </a:spcAft>
        <a:tabLst>
          <a:tab pos="206519" algn="l"/>
        </a:tabLst>
        <a:defRPr sz="1500" b="0" cap="none" baseline="0">
          <a:solidFill>
            <a:schemeClr val="accent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8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36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603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72" algn="l" defTabSz="685159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48208" indent="-146993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49868" indent="-200445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70135" indent="-119052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84" indent="-99616" algn="l" defTabSz="6851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8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36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603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72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40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207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75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943" algn="l" defTabSz="6997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8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1377206-80FD-70D9-F275-16A075FFD142}"/>
              </a:ext>
            </a:extLst>
          </p:cNvPr>
          <p:cNvSpPr/>
          <p:nvPr/>
        </p:nvSpPr>
        <p:spPr>
          <a:xfrm>
            <a:off x="40222" y="54183"/>
            <a:ext cx="2903316" cy="174359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B80380-DAC1-4782-BEF7-438DF498042F}"/>
              </a:ext>
            </a:extLst>
          </p:cNvPr>
          <p:cNvSpPr/>
          <p:nvPr/>
        </p:nvSpPr>
        <p:spPr>
          <a:xfrm>
            <a:off x="10019123" y="6056659"/>
            <a:ext cx="2153786" cy="80134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1837900"/>
              </p:ext>
            </p:extLst>
          </p:nvPr>
        </p:nvGraphicFramePr>
        <p:xfrm>
          <a:off x="2668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667001" y="857251"/>
            <a:ext cx="119063" cy="119063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 Unicode MS" panose="020B0604020202020204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22455" y="817336"/>
            <a:ext cx="19919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UTCOMES</a:t>
            </a:r>
          </a:p>
        </p:txBody>
      </p:sp>
      <p:sp>
        <p:nvSpPr>
          <p:cNvPr id="102" name="Pentagon 101"/>
          <p:cNvSpPr/>
          <p:nvPr/>
        </p:nvSpPr>
        <p:spPr>
          <a:xfrm>
            <a:off x="175873" y="205455"/>
            <a:ext cx="5920128" cy="553999"/>
          </a:xfrm>
          <a:prstGeom prst="homePlate">
            <a:avLst>
              <a:gd name="adj" fmla="val 1839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1" u="none" strike="noStrike" kern="120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From…</a:t>
            </a:r>
          </a:p>
          <a:p>
            <a:pPr marL="0" marR="0" lvl="0" indent="0" algn="l" defTabSz="685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>
                <a:solidFill>
                  <a:srgbClr val="343434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(Explain current situation/context</a:t>
            </a:r>
            <a:r>
              <a:rPr lang="en-US" sz="1000">
                <a:solidFill>
                  <a:srgbClr val="343434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)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1" u="none" strike="noStrike" kern="120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03" name="Chevron 102"/>
          <p:cNvSpPr/>
          <p:nvPr/>
        </p:nvSpPr>
        <p:spPr>
          <a:xfrm>
            <a:off x="6167120" y="205455"/>
            <a:ext cx="5985269" cy="549977"/>
          </a:xfrm>
          <a:prstGeom prst="chevron">
            <a:avLst>
              <a:gd name="adj" fmla="val 2363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To…</a:t>
            </a:r>
          </a:p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>
                <a:solidFill>
                  <a:prstClr val="white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(Explain future vision/ultimate desires for national immunisation system)</a:t>
            </a:r>
            <a:endParaRPr kumimoji="0" lang="en-US" sz="857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86" name="Title 1"/>
          <p:cNvSpPr>
            <a:spLocks noGrp="1"/>
          </p:cNvSpPr>
          <p:nvPr>
            <p:ph type="title"/>
          </p:nvPr>
        </p:nvSpPr>
        <p:spPr>
          <a:xfrm>
            <a:off x="4126939" y="38794"/>
            <a:ext cx="4074383" cy="169277"/>
          </a:xfrm>
          <a:noFill/>
        </p:spPr>
        <p:txBody>
          <a:bodyPr vert="horz"/>
          <a:lstStyle/>
          <a:p>
            <a:pPr algn="ctr"/>
            <a:r>
              <a:rPr lang="en-GB" sz="1100" b="1" i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ORY OF  CHANGE Templat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90438" y="816153"/>
            <a:ext cx="25087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HALLENGES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369597" y="778440"/>
            <a:ext cx="20617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INTERVENTIONS 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3F52F8-D7E7-42FD-9FB5-8F23B04017AF}"/>
              </a:ext>
            </a:extLst>
          </p:cNvPr>
          <p:cNvSpPr txBox="1"/>
          <p:nvPr/>
        </p:nvSpPr>
        <p:spPr>
          <a:xfrm>
            <a:off x="6463493" y="801225"/>
            <a:ext cx="904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UTPUTS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60456B-59B0-49CD-B48C-E239D0AE9C79}"/>
              </a:ext>
            </a:extLst>
          </p:cNvPr>
          <p:cNvSpPr txBox="1"/>
          <p:nvPr/>
        </p:nvSpPr>
        <p:spPr>
          <a:xfrm>
            <a:off x="3138218" y="5498222"/>
            <a:ext cx="2696843" cy="24622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730387-AB38-4BD3-8BEF-3E2AD30166BE}"/>
              </a:ext>
            </a:extLst>
          </p:cNvPr>
          <p:cNvSpPr txBox="1"/>
          <p:nvPr/>
        </p:nvSpPr>
        <p:spPr>
          <a:xfrm>
            <a:off x="6220554" y="5163111"/>
            <a:ext cx="2490788" cy="27699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10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55 Roman"/>
                <a:ea typeface="ＭＳ Ｐゴシック"/>
                <a:cs typeface="+mn-cs"/>
              </a:rPr>
              <a:t>xx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55F2A3-0232-4810-9B87-E44C00CFA2C3}"/>
              </a:ext>
            </a:extLst>
          </p:cNvPr>
          <p:cNvSpPr txBox="1"/>
          <p:nvPr/>
        </p:nvSpPr>
        <p:spPr>
          <a:xfrm>
            <a:off x="6220553" y="2945591"/>
            <a:ext cx="2490789" cy="28671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56453DA-7801-403F-A2F8-78475AC760DB}"/>
              </a:ext>
            </a:extLst>
          </p:cNvPr>
          <p:cNvSpPr txBox="1"/>
          <p:nvPr/>
        </p:nvSpPr>
        <p:spPr>
          <a:xfrm>
            <a:off x="3141504" y="1624651"/>
            <a:ext cx="2661920" cy="24622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C1D2F2-4193-4008-943E-64CC6220B7E0}"/>
              </a:ext>
            </a:extLst>
          </p:cNvPr>
          <p:cNvSpPr txBox="1"/>
          <p:nvPr/>
        </p:nvSpPr>
        <p:spPr>
          <a:xfrm>
            <a:off x="6216256" y="4073434"/>
            <a:ext cx="2495087" cy="27699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85FFA0-1F0D-4CD4-9BA2-74276A00880B}"/>
              </a:ext>
            </a:extLst>
          </p:cNvPr>
          <p:cNvSpPr txBox="1"/>
          <p:nvPr/>
        </p:nvSpPr>
        <p:spPr>
          <a:xfrm>
            <a:off x="3160404" y="2738087"/>
            <a:ext cx="2648192" cy="246221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1170B0-D436-4CA6-9233-1424F780167C}"/>
              </a:ext>
            </a:extLst>
          </p:cNvPr>
          <p:cNvSpPr txBox="1"/>
          <p:nvPr/>
        </p:nvSpPr>
        <p:spPr>
          <a:xfrm>
            <a:off x="3131212" y="1055700"/>
            <a:ext cx="2661920" cy="24622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A19A017-B2DA-48AA-B91F-64D63F92184D}"/>
              </a:ext>
            </a:extLst>
          </p:cNvPr>
          <p:cNvSpPr txBox="1"/>
          <p:nvPr/>
        </p:nvSpPr>
        <p:spPr>
          <a:xfrm>
            <a:off x="3139660" y="5085878"/>
            <a:ext cx="2704410" cy="24622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FB08F01D-D205-41A8-87CF-D8B4125AA9FF}"/>
              </a:ext>
            </a:extLst>
          </p:cNvPr>
          <p:cNvSpPr txBox="1"/>
          <p:nvPr/>
        </p:nvSpPr>
        <p:spPr>
          <a:xfrm>
            <a:off x="3160404" y="3791636"/>
            <a:ext cx="2674657" cy="24474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A68EA5FE-1D62-4834-9B1C-C3FB404646DA}"/>
              </a:ext>
            </a:extLst>
          </p:cNvPr>
          <p:cNvCxnSpPr>
            <a:cxnSpLocks/>
          </p:cNvCxnSpPr>
          <p:nvPr/>
        </p:nvCxnSpPr>
        <p:spPr>
          <a:xfrm flipV="1">
            <a:off x="7003627" y="2668767"/>
            <a:ext cx="134750" cy="18389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27B5639E-F9BB-4AB0-9043-5B5E193DBEF3}"/>
              </a:ext>
            </a:extLst>
          </p:cNvPr>
          <p:cNvSpPr txBox="1"/>
          <p:nvPr/>
        </p:nvSpPr>
        <p:spPr>
          <a:xfrm>
            <a:off x="3141504" y="2255593"/>
            <a:ext cx="2661920" cy="24622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2B706D9C-D112-48A8-9CF7-876FA779B276}"/>
              </a:ext>
            </a:extLst>
          </p:cNvPr>
          <p:cNvSpPr txBox="1"/>
          <p:nvPr/>
        </p:nvSpPr>
        <p:spPr>
          <a:xfrm>
            <a:off x="9026960" y="3482338"/>
            <a:ext cx="2096277" cy="246221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  <a:endParaRPr kumimoji="0" lang="en-GB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C1F0891-698A-4A68-BCBD-41B6D094154F}"/>
              </a:ext>
            </a:extLst>
          </p:cNvPr>
          <p:cNvSpPr txBox="1"/>
          <p:nvPr/>
        </p:nvSpPr>
        <p:spPr>
          <a:xfrm>
            <a:off x="113504" y="1415803"/>
            <a:ext cx="2568608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  <a:defRPr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43FBD5D-B1DE-4D2F-8985-52E986BBF86F}"/>
              </a:ext>
            </a:extLst>
          </p:cNvPr>
          <p:cNvSpPr txBox="1"/>
          <p:nvPr/>
        </p:nvSpPr>
        <p:spPr>
          <a:xfrm>
            <a:off x="101927" y="2970693"/>
            <a:ext cx="2576260" cy="52322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x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ABC7165-8D86-4A33-BA50-50E795850532}"/>
              </a:ext>
            </a:extLst>
          </p:cNvPr>
          <p:cNvSpPr txBox="1"/>
          <p:nvPr/>
        </p:nvSpPr>
        <p:spPr>
          <a:xfrm>
            <a:off x="66618" y="5005384"/>
            <a:ext cx="2576259" cy="30777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2790813-7D2D-4AA2-A715-B97A32787C36}"/>
              </a:ext>
            </a:extLst>
          </p:cNvPr>
          <p:cNvSpPr txBox="1"/>
          <p:nvPr/>
        </p:nvSpPr>
        <p:spPr>
          <a:xfrm>
            <a:off x="6228974" y="1269950"/>
            <a:ext cx="2463885" cy="27699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7E59D86-100B-498E-824F-3B3C28E57EC9}"/>
              </a:ext>
            </a:extLst>
          </p:cNvPr>
          <p:cNvSpPr txBox="1"/>
          <p:nvPr/>
        </p:nvSpPr>
        <p:spPr>
          <a:xfrm>
            <a:off x="6216876" y="2086024"/>
            <a:ext cx="2495087" cy="27699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1183762-6C28-403F-B685-A46CDAFFA417}"/>
              </a:ext>
            </a:extLst>
          </p:cNvPr>
          <p:cNvSpPr txBox="1"/>
          <p:nvPr/>
        </p:nvSpPr>
        <p:spPr>
          <a:xfrm>
            <a:off x="3162413" y="3107419"/>
            <a:ext cx="2648192" cy="25266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F6C4853-1F58-43B7-8CF0-588B75275719}"/>
              </a:ext>
            </a:extLst>
          </p:cNvPr>
          <p:cNvSpPr txBox="1"/>
          <p:nvPr/>
        </p:nvSpPr>
        <p:spPr>
          <a:xfrm>
            <a:off x="3136947" y="4451385"/>
            <a:ext cx="2704408" cy="246221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981A14D-4B8F-4259-92AC-DD4DC6336609}"/>
              </a:ext>
            </a:extLst>
          </p:cNvPr>
          <p:cNvSpPr txBox="1"/>
          <p:nvPr/>
        </p:nvSpPr>
        <p:spPr>
          <a:xfrm>
            <a:off x="3160403" y="5956209"/>
            <a:ext cx="2683667" cy="24622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D475C894-42A1-478D-B145-65768F223021}"/>
              </a:ext>
            </a:extLst>
          </p:cNvPr>
          <p:cNvSpPr txBox="1"/>
          <p:nvPr/>
        </p:nvSpPr>
        <p:spPr>
          <a:xfrm>
            <a:off x="11201400" y="778440"/>
            <a:ext cx="990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IMPACT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B4B191D-3F74-4AB5-BBA0-DFD2C735C004}"/>
              </a:ext>
            </a:extLst>
          </p:cNvPr>
          <p:cNvSpPr txBox="1"/>
          <p:nvPr/>
        </p:nvSpPr>
        <p:spPr>
          <a:xfrm>
            <a:off x="9029375" y="5107627"/>
            <a:ext cx="2153786" cy="24622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x</a:t>
            </a:r>
            <a:endParaRPr kumimoji="0" lang="en-GB" sz="100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0E90EA0A-CBAA-469F-9814-CB724A971336}"/>
              </a:ext>
            </a:extLst>
          </p:cNvPr>
          <p:cNvSpPr txBox="1"/>
          <p:nvPr/>
        </p:nvSpPr>
        <p:spPr>
          <a:xfrm>
            <a:off x="9050216" y="1927709"/>
            <a:ext cx="2000203" cy="23083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  <a:endParaRPr kumimoji="0" lang="en-GB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5A5F0F81-ED13-4EF7-80DA-E5B250E59E13}"/>
              </a:ext>
            </a:extLst>
          </p:cNvPr>
          <p:cNvCxnSpPr>
            <a:cxnSpLocks/>
            <a:stCxn id="61" idx="3"/>
            <a:endCxn id="30" idx="1"/>
          </p:cNvCxnSpPr>
          <p:nvPr/>
        </p:nvCxnSpPr>
        <p:spPr>
          <a:xfrm flipV="1">
            <a:off x="2682112" y="1178811"/>
            <a:ext cx="449100" cy="56015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9C5BC434-70B8-4FF6-897C-8DD8AC004031}"/>
              </a:ext>
            </a:extLst>
          </p:cNvPr>
          <p:cNvCxnSpPr>
            <a:cxnSpLocks/>
            <a:stCxn id="61" idx="3"/>
            <a:endCxn id="193" idx="1"/>
          </p:cNvCxnSpPr>
          <p:nvPr/>
        </p:nvCxnSpPr>
        <p:spPr>
          <a:xfrm>
            <a:off x="2682112" y="1738969"/>
            <a:ext cx="459392" cy="63973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BCDF0F01-44E9-4F3A-B434-A01850611F7C}"/>
              </a:ext>
            </a:extLst>
          </p:cNvPr>
          <p:cNvCxnSpPr>
            <a:stCxn id="75" idx="3"/>
            <a:endCxn id="101" idx="1"/>
          </p:cNvCxnSpPr>
          <p:nvPr/>
        </p:nvCxnSpPr>
        <p:spPr>
          <a:xfrm>
            <a:off x="2678187" y="3232303"/>
            <a:ext cx="458760" cy="1342193"/>
          </a:xfrm>
          <a:prstGeom prst="bentConnector3">
            <a:avLst>
              <a:gd name="adj1" fmla="val 52461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ECC7A3F3-8702-4AD0-A78D-FFE18104BDD8}"/>
              </a:ext>
            </a:extLst>
          </p:cNvPr>
          <p:cNvCxnSpPr>
            <a:stCxn id="75" idx="3"/>
            <a:endCxn id="28" idx="1"/>
          </p:cNvCxnSpPr>
          <p:nvPr/>
        </p:nvCxnSpPr>
        <p:spPr>
          <a:xfrm flipV="1">
            <a:off x="2678187" y="2861198"/>
            <a:ext cx="482217" cy="37110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74B410A4-1770-4EAB-ABCA-C17333FDD4EB}"/>
              </a:ext>
            </a:extLst>
          </p:cNvPr>
          <p:cNvCxnSpPr>
            <a:cxnSpLocks/>
            <a:stCxn id="77" idx="3"/>
          </p:cNvCxnSpPr>
          <p:nvPr/>
        </p:nvCxnSpPr>
        <p:spPr>
          <a:xfrm>
            <a:off x="2642877" y="5159273"/>
            <a:ext cx="400928" cy="924119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E2E91C0A-B995-4BA9-BEF8-5BAA7FD35EDE}"/>
              </a:ext>
            </a:extLst>
          </p:cNvPr>
          <p:cNvCxnSpPr>
            <a:cxnSpLocks/>
          </p:cNvCxnSpPr>
          <p:nvPr/>
        </p:nvCxnSpPr>
        <p:spPr>
          <a:xfrm>
            <a:off x="2642877" y="5159272"/>
            <a:ext cx="495341" cy="46206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67" name="Right Brace 66">
            <a:extLst>
              <a:ext uri="{FF2B5EF4-FFF2-40B4-BE49-F238E27FC236}">
                <a16:creationId xmlns:a16="http://schemas.microsoft.com/office/drawing/2014/main" id="{9918EB64-A908-4F2E-ABB6-B2D26B604A0A}"/>
              </a:ext>
            </a:extLst>
          </p:cNvPr>
          <p:cNvSpPr/>
          <p:nvPr/>
        </p:nvSpPr>
        <p:spPr>
          <a:xfrm>
            <a:off x="5874132" y="1084316"/>
            <a:ext cx="252701" cy="684469"/>
          </a:xfrm>
          <a:prstGeom prst="rightBrac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8" name="Right Brace 67">
            <a:extLst>
              <a:ext uri="{FF2B5EF4-FFF2-40B4-BE49-F238E27FC236}">
                <a16:creationId xmlns:a16="http://schemas.microsoft.com/office/drawing/2014/main" id="{F7BFB6C2-1E15-4649-A114-8FCE33F77849}"/>
              </a:ext>
            </a:extLst>
          </p:cNvPr>
          <p:cNvSpPr/>
          <p:nvPr/>
        </p:nvSpPr>
        <p:spPr>
          <a:xfrm>
            <a:off x="5864081" y="2700926"/>
            <a:ext cx="252701" cy="647229"/>
          </a:xfrm>
          <a:prstGeom prst="rightBrace">
            <a:avLst>
              <a:gd name="adj1" fmla="val 0"/>
              <a:gd name="adj2" fmla="val 50000"/>
            </a:avLst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9" name="Right Brace 68">
            <a:extLst>
              <a:ext uri="{FF2B5EF4-FFF2-40B4-BE49-F238E27FC236}">
                <a16:creationId xmlns:a16="http://schemas.microsoft.com/office/drawing/2014/main" id="{75130609-1B95-4157-A3CE-05016AEF3DF9}"/>
              </a:ext>
            </a:extLst>
          </p:cNvPr>
          <p:cNvSpPr/>
          <p:nvPr/>
        </p:nvSpPr>
        <p:spPr>
          <a:xfrm>
            <a:off x="5868409" y="5101774"/>
            <a:ext cx="255740" cy="1079687"/>
          </a:xfrm>
          <a:prstGeom prst="rightBrace">
            <a:avLst>
              <a:gd name="adj1" fmla="val 8333"/>
              <a:gd name="adj2" fmla="val 18633"/>
            </a:avLst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AB920EE1-2B02-4421-9268-0E3D9F63FB94}"/>
              </a:ext>
            </a:extLst>
          </p:cNvPr>
          <p:cNvSpPr/>
          <p:nvPr/>
        </p:nvSpPr>
        <p:spPr>
          <a:xfrm>
            <a:off x="5874133" y="3789854"/>
            <a:ext cx="252700" cy="907752"/>
          </a:xfrm>
          <a:prstGeom prst="rightBrace">
            <a:avLst>
              <a:gd name="adj1" fmla="val 8333"/>
              <a:gd name="adj2" fmla="val 51244"/>
            </a:avLst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1" name="Right Brace 70">
            <a:extLst>
              <a:ext uri="{FF2B5EF4-FFF2-40B4-BE49-F238E27FC236}">
                <a16:creationId xmlns:a16="http://schemas.microsoft.com/office/drawing/2014/main" id="{B36E0435-A200-47CC-87C6-692D849C005D}"/>
              </a:ext>
            </a:extLst>
          </p:cNvPr>
          <p:cNvSpPr/>
          <p:nvPr/>
        </p:nvSpPr>
        <p:spPr>
          <a:xfrm>
            <a:off x="8726807" y="1276005"/>
            <a:ext cx="261862" cy="1087018"/>
          </a:xfrm>
          <a:prstGeom prst="rightBrace">
            <a:avLst>
              <a:gd name="adj1" fmla="val 17538"/>
              <a:gd name="adj2" fmla="val 71978"/>
            </a:avLst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3" name="Right Brace 72">
            <a:extLst>
              <a:ext uri="{FF2B5EF4-FFF2-40B4-BE49-F238E27FC236}">
                <a16:creationId xmlns:a16="http://schemas.microsoft.com/office/drawing/2014/main" id="{8CA107F1-2F1A-455E-9C6B-F0CE62168090}"/>
              </a:ext>
            </a:extLst>
          </p:cNvPr>
          <p:cNvSpPr/>
          <p:nvPr/>
        </p:nvSpPr>
        <p:spPr>
          <a:xfrm>
            <a:off x="8761150" y="2946149"/>
            <a:ext cx="178538" cy="1389759"/>
          </a:xfrm>
          <a:prstGeom prst="rightBrace">
            <a:avLst>
              <a:gd name="adj1" fmla="val 3579"/>
              <a:gd name="adj2" fmla="val 47874"/>
            </a:avLst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8" name="Right Brace 77">
            <a:extLst>
              <a:ext uri="{FF2B5EF4-FFF2-40B4-BE49-F238E27FC236}">
                <a16:creationId xmlns:a16="http://schemas.microsoft.com/office/drawing/2014/main" id="{98F7892F-2862-4C5F-894D-C38162D47E2C}"/>
              </a:ext>
            </a:extLst>
          </p:cNvPr>
          <p:cNvSpPr/>
          <p:nvPr/>
        </p:nvSpPr>
        <p:spPr>
          <a:xfrm>
            <a:off x="8732138" y="5159272"/>
            <a:ext cx="211198" cy="276999"/>
          </a:xfrm>
          <a:prstGeom prst="rightBrace">
            <a:avLst>
              <a:gd name="adj1" fmla="val 10173"/>
              <a:gd name="adj2" fmla="val 33938"/>
            </a:avLst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3" name="Right Brace 62">
            <a:extLst>
              <a:ext uri="{FF2B5EF4-FFF2-40B4-BE49-F238E27FC236}">
                <a16:creationId xmlns:a16="http://schemas.microsoft.com/office/drawing/2014/main" id="{587BCCB9-AA83-4BB5-9AEC-20C6A05AC437}"/>
              </a:ext>
            </a:extLst>
          </p:cNvPr>
          <p:cNvSpPr/>
          <p:nvPr/>
        </p:nvSpPr>
        <p:spPr>
          <a:xfrm>
            <a:off x="5874132" y="1797782"/>
            <a:ext cx="252701" cy="684469"/>
          </a:xfrm>
          <a:prstGeom prst="rightBrace">
            <a:avLst>
              <a:gd name="adj1" fmla="val 8333"/>
              <a:gd name="adj2" fmla="val 59896"/>
            </a:avLst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E2DD336-1112-4E5A-9DB1-E95D376C343D}"/>
              </a:ext>
            </a:extLst>
          </p:cNvPr>
          <p:cNvSpPr txBox="1"/>
          <p:nvPr/>
        </p:nvSpPr>
        <p:spPr>
          <a:xfrm>
            <a:off x="9316769" y="3028698"/>
            <a:ext cx="1578998" cy="276999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xtend &amp; Reach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815132-54BE-619F-F073-A6ABF886B36E}"/>
              </a:ext>
            </a:extLst>
          </p:cNvPr>
          <p:cNvSpPr/>
          <p:nvPr/>
        </p:nvSpPr>
        <p:spPr>
          <a:xfrm>
            <a:off x="11571111" y="1458890"/>
            <a:ext cx="507385" cy="48397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xxx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3E91B64-A084-DD85-748D-63986177C203}"/>
              </a:ext>
            </a:extLst>
          </p:cNvPr>
          <p:cNvSpPr txBox="1"/>
          <p:nvPr/>
        </p:nvSpPr>
        <p:spPr>
          <a:xfrm>
            <a:off x="9363531" y="4551786"/>
            <a:ext cx="1578998" cy="46166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Manage, Monitor, Lear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3CD39D8-9ABD-D14F-85B8-657103EB45EB}"/>
              </a:ext>
            </a:extLst>
          </p:cNvPr>
          <p:cNvSpPr txBox="1"/>
          <p:nvPr/>
        </p:nvSpPr>
        <p:spPr>
          <a:xfrm>
            <a:off x="9363531" y="1484936"/>
            <a:ext cx="1578998" cy="276999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ntroduce &amp; Scale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3B0ACF3-62EE-A282-FE4B-CBB896D4E541}"/>
              </a:ext>
            </a:extLst>
          </p:cNvPr>
          <p:cNvSpPr txBox="1"/>
          <p:nvPr/>
        </p:nvSpPr>
        <p:spPr>
          <a:xfrm>
            <a:off x="6219651" y="6407699"/>
            <a:ext cx="2490788" cy="27699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10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55 Roman"/>
                <a:ea typeface="ＭＳ Ｐゴシック"/>
                <a:cs typeface="+mn-cs"/>
              </a:rPr>
              <a:t>xx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E5E58CE-5D34-06BA-DEDF-B26BC390BC5A}"/>
              </a:ext>
            </a:extLst>
          </p:cNvPr>
          <p:cNvSpPr txBox="1"/>
          <p:nvPr/>
        </p:nvSpPr>
        <p:spPr>
          <a:xfrm>
            <a:off x="3136946" y="6423089"/>
            <a:ext cx="2704410" cy="24622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2F27A64-FDE7-7F98-57A4-F3662EDE43A7}"/>
              </a:ext>
            </a:extLst>
          </p:cNvPr>
          <p:cNvSpPr txBox="1"/>
          <p:nvPr/>
        </p:nvSpPr>
        <p:spPr>
          <a:xfrm>
            <a:off x="66618" y="6347505"/>
            <a:ext cx="2576259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x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1DDE3209-458C-B629-7DFE-731765F7A57B}"/>
              </a:ext>
            </a:extLst>
          </p:cNvPr>
          <p:cNvSpPr txBox="1"/>
          <p:nvPr/>
        </p:nvSpPr>
        <p:spPr>
          <a:xfrm>
            <a:off x="9017203" y="6403422"/>
            <a:ext cx="2153786" cy="24622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xxx</a:t>
            </a:r>
            <a:endParaRPr kumimoji="0" lang="en-GB" sz="100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05" name="Right Brace 104">
            <a:extLst>
              <a:ext uri="{FF2B5EF4-FFF2-40B4-BE49-F238E27FC236}">
                <a16:creationId xmlns:a16="http://schemas.microsoft.com/office/drawing/2014/main" id="{52721C1F-EE31-0B23-A45E-0D7FE5F00D65}"/>
              </a:ext>
            </a:extLst>
          </p:cNvPr>
          <p:cNvSpPr/>
          <p:nvPr/>
        </p:nvSpPr>
        <p:spPr>
          <a:xfrm>
            <a:off x="5870163" y="6423089"/>
            <a:ext cx="253986" cy="246221"/>
          </a:xfrm>
          <a:prstGeom prst="rightBrace">
            <a:avLst>
              <a:gd name="adj1" fmla="val 10173"/>
              <a:gd name="adj2" fmla="val 33938"/>
            </a:avLst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06" name="Right Brace 105">
            <a:extLst>
              <a:ext uri="{FF2B5EF4-FFF2-40B4-BE49-F238E27FC236}">
                <a16:creationId xmlns:a16="http://schemas.microsoft.com/office/drawing/2014/main" id="{557E2FD3-484F-DD70-CD8E-22DEF4AF9673}"/>
              </a:ext>
            </a:extLst>
          </p:cNvPr>
          <p:cNvSpPr/>
          <p:nvPr/>
        </p:nvSpPr>
        <p:spPr>
          <a:xfrm>
            <a:off x="2707175" y="6334218"/>
            <a:ext cx="336629" cy="349150"/>
          </a:xfrm>
          <a:prstGeom prst="rightBrace">
            <a:avLst>
              <a:gd name="adj1" fmla="val 10173"/>
              <a:gd name="adj2" fmla="val 54561"/>
            </a:avLst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07" name="Right Brace 106">
            <a:extLst>
              <a:ext uri="{FF2B5EF4-FFF2-40B4-BE49-F238E27FC236}">
                <a16:creationId xmlns:a16="http://schemas.microsoft.com/office/drawing/2014/main" id="{DB68E761-2ED2-5379-5339-D4D0E771F794}"/>
              </a:ext>
            </a:extLst>
          </p:cNvPr>
          <p:cNvSpPr/>
          <p:nvPr/>
        </p:nvSpPr>
        <p:spPr>
          <a:xfrm>
            <a:off x="8731695" y="6423462"/>
            <a:ext cx="183049" cy="246221"/>
          </a:xfrm>
          <a:prstGeom prst="rightBrace">
            <a:avLst>
              <a:gd name="adj1" fmla="val 10173"/>
              <a:gd name="adj2" fmla="val 33938"/>
            </a:avLst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F409736E-E8F7-8F50-C3FC-A735950FB72D}"/>
              </a:ext>
            </a:extLst>
          </p:cNvPr>
          <p:cNvSpPr txBox="1"/>
          <p:nvPr/>
        </p:nvSpPr>
        <p:spPr>
          <a:xfrm>
            <a:off x="9363531" y="5969568"/>
            <a:ext cx="1578998" cy="276999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ommit &amp; Sustai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6844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42GT13TmKrB1epzZyi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9ICk_PQ46xZ3Gvn0hF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5_Gavi_CF_GAE403">
  <a:themeElements>
    <a:clrScheme name="Current">
      <a:dk1>
        <a:srgbClr val="000000"/>
      </a:dk1>
      <a:lt1>
        <a:srgbClr val="FFFFFF"/>
      </a:lt1>
      <a:dk2>
        <a:srgbClr val="95D600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808080"/>
      </a:accent6>
      <a:hlink>
        <a:srgbClr val="95D600"/>
      </a:hlink>
      <a:folHlink>
        <a:srgbClr val="A5189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95D600"/>
        </a:dk2>
        <a:lt2>
          <a:srgbClr val="878787"/>
        </a:lt2>
        <a:accent1>
          <a:srgbClr val="005CB9"/>
        </a:accent1>
        <a:accent2>
          <a:srgbClr val="00A1DF"/>
        </a:accent2>
        <a:accent3>
          <a:srgbClr val="95D600"/>
        </a:accent3>
        <a:accent4>
          <a:srgbClr val="A51890"/>
        </a:accent4>
        <a:accent5>
          <a:srgbClr val="CE0F69"/>
        </a:accent5>
        <a:accent6>
          <a:srgbClr val="808080"/>
        </a:accent6>
        <a:hlink>
          <a:srgbClr val="95D600"/>
        </a:hlink>
        <a:folHlink>
          <a:srgbClr val="A518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0706217-df7c-4bf4-936d-b09aa3b837af" xsi:nil="true"/>
    <lcf76f155ced4ddcb4097134ff3c332f xmlns="5c2490db-6e42-4989-a0fb-d6ff54a6a7de">
      <Terms xmlns="http://schemas.microsoft.com/office/infopath/2007/PartnerControls"/>
    </lcf76f155ced4ddcb4097134ff3c332f>
    <_dlc_DocId xmlns="55894003-98dc-4f3e-8669-85b90bdbcc8c">GAVI-438364776-972654</_dlc_DocId>
    <_dlc_DocIdUrl xmlns="55894003-98dc-4f3e-8669-85b90bdbcc8c">
      <Url>https://gavinet.sharepoint.com/teams/PAP/srp/_layouts/15/DocIdRedir.aspx?ID=GAVI-438364776-972654</Url>
      <Description>GAVI-438364776-972654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Gavi Document" ma:contentTypeID="0x0101009954897F3EE3CC4ABB9FB9EDAC9CDEBC0061E92A44B5DD2545AEF000129C25E859" ma:contentTypeVersion="209" ma:contentTypeDescription="Gavi Document content type " ma:contentTypeScope="" ma:versionID="3c82f0c0c431ecddf7a9e863def4d301">
  <xsd:schema xmlns:xsd="http://www.w3.org/2001/XMLSchema" xmlns:xs="http://www.w3.org/2001/XMLSchema" xmlns:p="http://schemas.microsoft.com/office/2006/metadata/properties" xmlns:ns2="d0706217-df7c-4bf4-936d-b09aa3b837af" xmlns:ns3="55894003-98dc-4f3e-8669-85b90bdbcc8c" xmlns:ns4="5c2490db-6e42-4989-a0fb-d6ff54a6a7de" targetNamespace="http://schemas.microsoft.com/office/2006/metadata/properties" ma:root="true" ma:fieldsID="4646fe5a8c9fc0ff7027340f19b8308f" ns2:_="" ns3:_="" ns4:_="">
    <xsd:import namespace="d0706217-df7c-4bf4-936d-b09aa3b837af"/>
    <xsd:import namespace="55894003-98dc-4f3e-8669-85b90bdbcc8c"/>
    <xsd:import namespace="5c2490db-6e42-4989-a0fb-d6ff54a6a7d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_dlc_DocId" minOccurs="0"/>
                <xsd:element ref="ns3:_dlc_DocIdUrl" minOccurs="0"/>
                <xsd:element ref="ns3:_dlc_DocIdPersistId" minOccurs="0"/>
                <xsd:element ref="ns2:TaxCatchAllLabel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706217-df7c-4bf4-936d-b09aa3b837af" elementFormDefault="qualified">
    <xsd:import namespace="http://schemas.microsoft.com/office/2006/documentManagement/types"/>
    <xsd:import namespace="http://schemas.microsoft.com/office/infopath/2007/PartnerControls"/>
    <xsd:element name="TaxCatchAll" ma:index="5" nillable="true" ma:displayName="Taxonomy Catch All Column" ma:description="" ma:hidden="true" ma:list="{c405dbff-886d-494b-bfcb-83b334e9f606}" ma:internalName="TaxCatchAll" ma:showField="CatchAllData" ma:web="55894003-98dc-4f3e-8669-85b90bdbcc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description="" ma:hidden="true" ma:list="{c405dbff-886d-494b-bfcb-83b334e9f606}" ma:internalName="TaxCatchAllLabel" ma:readOnly="true" ma:showField="CatchAllDataLabel" ma:web="55894003-98dc-4f3e-8669-85b90bdbcc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894003-98dc-4f3e-8669-85b90bdbcc8c" elementFormDefault="qualified">
    <xsd:import namespace="http://schemas.microsoft.com/office/2006/documentManagement/types"/>
    <xsd:import namespace="http://schemas.microsoft.com/office/infopath/2007/PartnerControls"/>
    <xsd:element name="_dlc_DocId" ma:index="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8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2490db-6e42-4989-a0fb-d6ff54a6a7de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93cb0222-e980-4273-ad97-85dba3159c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SharedContentType xmlns="Microsoft.SharePoint.Taxonomy.ContentTypeSync" SourceId="93cb0222-e980-4273-ad97-85dba3159c09" ContentTypeId="0x0101009954897F3EE3CC4ABB9FB9EDAC9CDEBC" PreviousValue="false"/>
</file>

<file path=customXml/itemProps1.xml><?xml version="1.0" encoding="utf-8"?>
<ds:datastoreItem xmlns:ds="http://schemas.openxmlformats.org/officeDocument/2006/customXml" ds:itemID="{E3D0F925-9F97-4D6C-9171-8C65807620D3}">
  <ds:schemaRefs>
    <ds:schemaRef ds:uri="55894003-98dc-4f3e-8669-85b90bdbcc8c"/>
    <ds:schemaRef ds:uri="5c2490db-6e42-4989-a0fb-d6ff54a6a7de"/>
    <ds:schemaRef ds:uri="d0706217-df7c-4bf4-936d-b09aa3b837af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EEFA5ED-8475-47F6-BAE1-A8B1C24681BD}">
  <ds:schemaRefs>
    <ds:schemaRef ds:uri="55894003-98dc-4f3e-8669-85b90bdbcc8c"/>
    <ds:schemaRef ds:uri="5c2490db-6e42-4989-a0fb-d6ff54a6a7de"/>
    <ds:schemaRef ds:uri="d0706217-df7c-4bf4-936d-b09aa3b837a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EEB6847-4C76-4C5B-94F8-1DB7434AD68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F7B9E32-0509-46D0-91E7-42F421EA0AB5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F18C54E7-3822-4059-915A-5EA659D90228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</Words>
  <Application>Microsoft Office PowerPoint</Application>
  <PresentationFormat>Widescreen</PresentationFormat>
  <Paragraphs>4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rutiger 55 Roman</vt:lpstr>
      <vt:lpstr>Symbol</vt:lpstr>
      <vt:lpstr>Wingdings</vt:lpstr>
      <vt:lpstr>5_Gavi_CF_GAE403</vt:lpstr>
      <vt:lpstr>think-cell Slide</vt:lpstr>
      <vt:lpstr>THEORY OF  CHANGE 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ORY OF  CHANGE: Kyrgyzstan</dc:title>
  <dc:creator>Stephanie Phipps</dc:creator>
  <cp:lastModifiedBy>Stephanie Phipps</cp:lastModifiedBy>
  <cp:revision>1</cp:revision>
  <dcterms:created xsi:type="dcterms:W3CDTF">2022-05-31T16:35:09Z</dcterms:created>
  <dcterms:modified xsi:type="dcterms:W3CDTF">2022-11-03T15:4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5-31T16:35:40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7a69bc96-b03f-4532-baa0-000046e34b43</vt:lpwstr>
  </property>
  <property fmtid="{D5CDD505-2E9C-101B-9397-08002B2CF9AE}" pid="8" name="MSIP_Label_0a957285-7815-485a-9751-5b273b784ad5_ContentBits">
    <vt:lpwstr>0</vt:lpwstr>
  </property>
  <property fmtid="{D5CDD505-2E9C-101B-9397-08002B2CF9AE}" pid="9" name="ContentTypeId">
    <vt:lpwstr>0x0101009954897F3EE3CC4ABB9FB9EDAC9CDEBC0061E92A44B5DD2545AEF000129C25E859</vt:lpwstr>
  </property>
  <property fmtid="{D5CDD505-2E9C-101B-9397-08002B2CF9AE}" pid="10" name="_dlc_DocIdItemGuid">
    <vt:lpwstr>f3ea80e6-0ba3-4865-be3e-0107b062f112</vt:lpwstr>
  </property>
  <property fmtid="{D5CDD505-2E9C-101B-9397-08002B2CF9AE}" pid="11" name="MediaServiceImageTags">
    <vt:lpwstr/>
  </property>
  <property fmtid="{D5CDD505-2E9C-101B-9397-08002B2CF9AE}" pid="12" name="kfa83adfad8641678ddaedda80d7e126">
    <vt:lpwstr/>
  </property>
  <property fmtid="{D5CDD505-2E9C-101B-9397-08002B2CF9AE}" pid="13" name="Test">
    <vt:lpwstr/>
  </property>
</Properties>
</file>